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6" r:id="rId4"/>
  </p:sldMasterIdLst>
  <p:notesMasterIdLst>
    <p:notesMasterId r:id="rId6"/>
  </p:notesMasterIdLst>
  <p:sldIdLst>
    <p:sldId id="300" r:id="rId5"/>
  </p:sldIdLst>
  <p:sldSz cx="14630400" cy="8229600"/>
  <p:notesSz cx="6794500" cy="9931400"/>
  <p:custDataLst>
    <p:tags r:id="rId7"/>
  </p:custDataLst>
  <p:defaultTextStyle>
    <a:defPPr>
      <a:defRPr lang="nb-NO"/>
    </a:defPPr>
    <a:lvl1pPr marL="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2">
          <p15:clr>
            <a:srgbClr val="A4A3A4"/>
          </p15:clr>
        </p15:guide>
        <p15:guide id="2" pos="460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0069E8"/>
    <a:srgbClr val="E8DDDE"/>
    <a:srgbClr val="EFEF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Ingen stil, tabellrutenett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93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132" y="240"/>
      </p:cViewPr>
      <p:guideLst>
        <p:guide orient="horz" pos="2592"/>
        <p:guide pos="460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y Anita Hemsing" userId="c680a76b-ee8d-4eeb-885f-a53a0783cdeb" providerId="ADAL" clId="{55E2F120-18A7-DA4C-8EB7-B0874EF2E7D1}"/>
    <pc:docChg chg="modSld">
      <pc:chgData name="Gry Anita Hemsing" userId="c680a76b-ee8d-4eeb-885f-a53a0783cdeb" providerId="ADAL" clId="{55E2F120-18A7-DA4C-8EB7-B0874EF2E7D1}" dt="2018-11-01T09:59:49.041" v="20" actId="20577"/>
      <pc:docMkLst>
        <pc:docMk/>
      </pc:docMkLst>
      <pc:sldChg chg="modSp">
        <pc:chgData name="Gry Anita Hemsing" userId="c680a76b-ee8d-4eeb-885f-a53a0783cdeb" providerId="ADAL" clId="{55E2F120-18A7-DA4C-8EB7-B0874EF2E7D1}" dt="2018-11-01T09:59:49.041" v="20" actId="20577"/>
        <pc:sldMkLst>
          <pc:docMk/>
          <pc:sldMk cId="4213728476" sldId="300"/>
        </pc:sldMkLst>
        <pc:spChg chg="mod">
          <ac:chgData name="Gry Anita Hemsing" userId="c680a76b-ee8d-4eeb-885f-a53a0783cdeb" providerId="ADAL" clId="{55E2F120-18A7-DA4C-8EB7-B0874EF2E7D1}" dt="2018-11-01T09:59:49.041" v="20" actId="20577"/>
          <ac:spMkLst>
            <pc:docMk/>
            <pc:sldMk cId="4213728476" sldId="300"/>
            <ac:spMk id="7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regneark.xlsx"/><Relationship Id="rId2" Type="http://schemas.openxmlformats.org/officeDocument/2006/relationships/image" Target="../media/image20.png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nb-NO" dirty="0"/>
              <a:t>Overordnet prosjektrisiko
</a:t>
            </a:r>
          </a:p>
        </c:rich>
      </c:tx>
      <c:layout>
        <c:manualLayout>
          <c:xMode val="edge"/>
          <c:yMode val="edge"/>
          <c:x val="0.19684716224096993"/>
          <c:y val="2.9723937186091929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5372670807453417"/>
          <c:y val="0.16835716471733639"/>
          <c:w val="0.83229813664596275"/>
          <c:h val="0.66328666099480715"/>
        </c:manualLayout>
      </c:layout>
      <c:scatterChart>
        <c:scatterStyle val="lineMarker"/>
        <c:varyColors val="0"/>
        <c:ser>
          <c:idx val="0"/>
          <c:order val="0"/>
          <c:tx>
            <c:strRef>
              <c:f>'Risiko elementer'!$A$12</c:f>
              <c:strCache>
                <c:ptCount val="1"/>
              </c:strCache>
            </c:strRef>
          </c:tx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EFFA-4B61-8B06-307CEDA07C61}"/>
              </c:ext>
            </c:extLst>
          </c:dPt>
          <c:dPt>
            <c:idx val="1"/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9:$P$1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9:$Q$1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EFFA-4B61-8B06-307CEDA07C61}"/>
            </c:ext>
          </c:extLst>
        </c:ser>
        <c:ser>
          <c:idx val="1"/>
          <c:order val="1"/>
          <c:tx>
            <c:strRef>
              <c:f>'Risiko elementer'!$A$13</c:f>
              <c:strCache>
                <c:ptCount val="1"/>
              </c:strCache>
            </c:strRef>
          </c:tx>
          <c:spPr>
            <a:ln w="12700">
              <a:solidFill>
                <a:srgbClr val="FFFFFF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1:$P$1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1:$Q$1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EFFA-4B61-8B06-307CEDA07C61}"/>
            </c:ext>
          </c:extLst>
        </c:ser>
        <c:ser>
          <c:idx val="2"/>
          <c:order val="2"/>
          <c:tx>
            <c:strRef>
              <c:f>'Risiko elementer'!$A$14</c:f>
              <c:strCache>
                <c:ptCount val="1"/>
              </c:strCache>
            </c:strRef>
          </c:tx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EFFA-4B61-8B06-307CEDA07C61}"/>
              </c:ext>
            </c:extLst>
          </c:dPt>
          <c:dPt>
            <c:idx val="1"/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3:$P$1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3:$Q$1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EFFA-4B61-8B06-307CEDA07C61}"/>
            </c:ext>
          </c:extLst>
        </c:ser>
        <c:ser>
          <c:idx val="3"/>
          <c:order val="3"/>
          <c:tx>
            <c:strRef>
              <c:f>'Risiko elementer'!$A$15</c:f>
              <c:strCache>
                <c:ptCount val="1"/>
              </c:strCache>
            </c:strRef>
          </c:tx>
          <c:spPr>
            <a:ln w="12700">
              <a:solidFill>
                <a:srgbClr val="FFFFFF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5:$P$1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5:$Q$1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EFFA-4B61-8B06-307CEDA07C61}"/>
            </c:ext>
          </c:extLst>
        </c:ser>
        <c:ser>
          <c:idx val="4"/>
          <c:order val="4"/>
          <c:tx>
            <c:strRef>
              <c:f>'Risiko elementer'!$A$16</c:f>
              <c:strCache>
                <c:ptCount val="1"/>
              </c:strCache>
            </c:strRef>
          </c:tx>
          <c:spPr>
            <a:ln w="12700">
              <a:solidFill>
                <a:srgbClr val="800080"/>
              </a:solidFill>
              <a:prstDash val="solid"/>
            </a:ln>
          </c:spPr>
          <c:marker>
            <c:symbol val="star"/>
            <c:size val="5"/>
            <c:spPr>
              <a:noFill/>
              <a:ln>
                <a:solidFill>
                  <a:srgbClr val="8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D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7:$P$1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7:$Q$1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EFFA-4B61-8B06-307CEDA07C61}"/>
            </c:ext>
          </c:extLst>
        </c:ser>
        <c:ser>
          <c:idx val="5"/>
          <c:order val="5"/>
          <c:tx>
            <c:strRef>
              <c:f>'Risiko elementer'!$A$17</c:f>
              <c:strCache>
                <c:ptCount val="1"/>
              </c:strCache>
            </c:strRef>
          </c:tx>
          <c:spPr>
            <a:ln w="12700">
              <a:solidFill>
                <a:srgbClr val="800000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800000"/>
              </a:solidFill>
              <a:ln>
                <a:solidFill>
                  <a:srgbClr val="80000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1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9:$P$2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9:$Q$2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EFFA-4B61-8B06-307CEDA07C61}"/>
            </c:ext>
          </c:extLst>
        </c:ser>
        <c:ser>
          <c:idx val="6"/>
          <c:order val="6"/>
          <c:tx>
            <c:strRef>
              <c:f>'Risiko elementer'!$A$18</c:f>
              <c:strCache>
                <c:ptCount val="1"/>
              </c:strCache>
            </c:strRef>
          </c:tx>
          <c:spPr>
            <a:ln w="12700">
              <a:solidFill>
                <a:srgbClr val="008080"/>
              </a:solidFill>
              <a:prstDash val="solid"/>
            </a:ln>
          </c:spPr>
          <c:marker>
            <c:symbol val="plus"/>
            <c:size val="5"/>
            <c:spPr>
              <a:noFill/>
              <a:ln>
                <a:solidFill>
                  <a:srgbClr val="008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5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1:$P$2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1:$Q$2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EFFA-4B61-8B06-307CEDA07C61}"/>
            </c:ext>
          </c:extLst>
        </c:ser>
        <c:ser>
          <c:idx val="7"/>
          <c:order val="7"/>
          <c:tx>
            <c:strRef>
              <c:f>'Risiko elementer'!$A$19</c:f>
              <c:strCache>
                <c:ptCount val="1"/>
              </c:strCache>
            </c:strRef>
          </c:tx>
          <c:spPr>
            <a:ln w="12700">
              <a:solidFill>
                <a:srgbClr val="0000FF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3:$P$2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3:$Q$2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B-EFFA-4B61-8B06-307CEDA07C61}"/>
            </c:ext>
          </c:extLst>
        </c:ser>
        <c:ser>
          <c:idx val="8"/>
          <c:order val="8"/>
          <c:tx>
            <c:strRef>
              <c:f>'Risiko elementer'!$A$20</c:f>
              <c:strCache>
                <c:ptCount val="1"/>
              </c:strCache>
            </c:strRef>
          </c:tx>
          <c:spPr>
            <a:ln w="12700">
              <a:solidFill>
                <a:srgbClr val="00CCFF"/>
              </a:solidFill>
              <a:prstDash val="solid"/>
            </a:ln>
          </c:spPr>
          <c:marker>
            <c:symbol val="dash"/>
            <c:size val="5"/>
            <c:spPr>
              <a:noFill/>
              <a:ln>
                <a:solidFill>
                  <a:srgbClr val="00CCFF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C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5:$P$2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5:$Q$2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F-EFFA-4B61-8B06-307CEDA07C61}"/>
            </c:ext>
          </c:extLst>
        </c:ser>
        <c:ser>
          <c:idx val="9"/>
          <c:order val="9"/>
          <c:tx>
            <c:strRef>
              <c:f>'Risiko elementer'!$A$21</c:f>
              <c:strCache>
                <c:ptCount val="1"/>
              </c:strCache>
            </c:strRef>
          </c:tx>
          <c:spPr>
            <a:ln w="12700">
              <a:solidFill>
                <a:srgbClr val="CCFFFF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CCFFFF"/>
              </a:solidFill>
              <a:ln>
                <a:solidFill>
                  <a:srgbClr val="CCFFFF"/>
                </a:solidFill>
                <a:prstDash val="solid"/>
              </a:ln>
            </c:spPr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EFFA-4B61-8B06-307CEDA07C61}"/>
              </c:ext>
            </c:extLst>
          </c:dPt>
          <c:dLbls>
            <c:dLbl>
              <c:idx val="1"/>
              <c:layout>
                <c:manualLayout>
                  <c:x val="-8.9988751406074249E-3"/>
                  <c:y val="-2.751031636863824E-3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7:$P$2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7:$Q$2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2-EFFA-4B61-8B06-307CEDA07C61}"/>
            </c:ext>
          </c:extLst>
        </c:ser>
        <c:ser>
          <c:idx val="10"/>
          <c:order val="10"/>
          <c:tx>
            <c:strRef>
              <c:f>'Risiko elementer'!$A$22</c:f>
              <c:strCache>
                <c:ptCount val="1"/>
              </c:strCache>
            </c:strRef>
          </c:tx>
          <c:spPr>
            <a:ln w="12700">
              <a:solidFill>
                <a:srgbClr val="CCFFCC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9:$P$3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9:$Q$3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4-EFFA-4B61-8B06-307CEDA07C61}"/>
            </c:ext>
          </c:extLst>
        </c:ser>
        <c:ser>
          <c:idx val="11"/>
          <c:order val="11"/>
          <c:tx>
            <c:strRef>
              <c:f>'Risiko elementer'!$A$23</c:f>
              <c:strCache>
                <c:ptCount val="1"/>
              </c:strCache>
            </c:strRef>
          </c:tx>
          <c:spPr>
            <a:ln w="12700">
              <a:solidFill>
                <a:srgbClr val="FFFF99"/>
              </a:solidFill>
              <a:prstDash val="solid"/>
            </a:ln>
          </c:spPr>
          <c:marker>
            <c:symbol val="triangle"/>
            <c:size val="5"/>
            <c:spPr>
              <a:solidFill>
                <a:srgbClr val="FFFF99"/>
              </a:solidFill>
              <a:ln>
                <a:solidFill>
                  <a:srgbClr val="FFFF99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5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1:$P$3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1:$Q$3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8-EFFA-4B61-8B06-307CEDA07C61}"/>
            </c:ext>
          </c:extLst>
        </c:ser>
        <c:ser>
          <c:idx val="12"/>
          <c:order val="12"/>
          <c:tx>
            <c:strRef>
              <c:f>'Risiko elementer'!$A$24</c:f>
              <c:strCache>
                <c:ptCount val="1"/>
              </c:strCache>
            </c:strRef>
          </c:tx>
          <c:spPr>
            <a:ln w="12700">
              <a:solidFill>
                <a:srgbClr val="99CCFF"/>
              </a:solidFill>
              <a:prstDash val="solid"/>
            </a:ln>
          </c:spPr>
          <c:marker>
            <c:symbol val="x"/>
            <c:size val="5"/>
            <c:spPr>
              <a:noFill/>
              <a:ln>
                <a:solidFill>
                  <a:srgbClr val="99CCFF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9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B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3:$P$3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3:$Q$3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C-EFFA-4B61-8B06-307CEDA07C61}"/>
            </c:ext>
          </c:extLst>
        </c:ser>
        <c:ser>
          <c:idx val="16"/>
          <c:order val="13"/>
          <c:tx>
            <c:strRef>
              <c:f>'Risiko elementer'!$A$2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D-EFFA-4B61-8B06-307CEDA07C61}"/>
            </c:ext>
          </c:extLst>
        </c:ser>
        <c:ser>
          <c:idx val="17"/>
          <c:order val="14"/>
          <c:tx>
            <c:strRef>
              <c:f>'Risiko elementer'!$A$2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E-EFFA-4B61-8B06-307CEDA07C61}"/>
            </c:ext>
          </c:extLst>
        </c:ser>
        <c:ser>
          <c:idx val="13"/>
          <c:order val="15"/>
          <c:tx>
            <c:strRef>
              <c:f>'Risiko elementer'!$A$27</c:f>
              <c:strCache>
                <c:ptCount val="1"/>
              </c:strCache>
            </c:strRef>
          </c:tx>
          <c:spPr>
            <a:ln w="12700">
              <a:solidFill>
                <a:srgbClr val="FF99CC"/>
              </a:solidFill>
              <a:prstDash val="solid"/>
            </a:ln>
          </c:spPr>
          <c:marker>
            <c:symbol val="star"/>
            <c:size val="5"/>
            <c:spPr>
              <a:noFill/>
              <a:ln>
                <a:solidFill>
                  <a:srgbClr val="FF99CC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0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2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5:$P$3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5:$Q$3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3-EFFA-4B61-8B06-307CEDA07C61}"/>
            </c:ext>
          </c:extLst>
        </c:ser>
        <c:ser>
          <c:idx val="18"/>
          <c:order val="16"/>
          <c:tx>
            <c:strRef>
              <c:f>'Risiko elementer'!$A$2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4-EFFA-4B61-8B06-307CEDA07C61}"/>
            </c:ext>
          </c:extLst>
        </c:ser>
        <c:ser>
          <c:idx val="15"/>
          <c:order val="17"/>
          <c:tx>
            <c:strRef>
              <c:f>'Risiko elementer'!$A$2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5-EFFA-4B61-8B06-307CEDA07C61}"/>
            </c:ext>
          </c:extLst>
        </c:ser>
        <c:ser>
          <c:idx val="19"/>
          <c:order val="18"/>
          <c:tx>
            <c:strRef>
              <c:f>'Risiko elementer'!$A$30</c:f>
              <c:strCache>
                <c:ptCount val="1"/>
              </c:strCache>
            </c:strRef>
          </c:tx>
          <c:dPt>
            <c:idx val="0"/>
            <c:marker>
              <c:symbol val="diamond"/>
              <c:size val="10"/>
              <c:spPr>
                <a:solidFill>
                  <a:srgbClr val="000080"/>
                </a:solidFill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EFFA-4B61-8B06-307CEDA07C61}"/>
              </c:ext>
            </c:extLst>
          </c:dPt>
          <c:dLbls>
            <c:dLbl>
              <c:idx val="0"/>
              <c:layout>
                <c:manualLayout>
                  <c:x val="-1.1248593925759279E-2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7-EFFA-4B61-8B06-307CEDA07C61}"/>
            </c:ext>
          </c:extLst>
        </c:ser>
        <c:ser>
          <c:idx val="20"/>
          <c:order val="19"/>
          <c:tx>
            <c:strRef>
              <c:f>'Risiko elementer'!$A$3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8-EFFA-4B61-8B06-307CEDA07C61}"/>
            </c:ext>
          </c:extLst>
        </c:ser>
        <c:ser>
          <c:idx val="21"/>
          <c:order val="20"/>
          <c:tx>
            <c:strRef>
              <c:f>'Risiko elementer'!$A$3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9-EFFA-4B61-8B06-307CEDA07C61}"/>
            </c:ext>
          </c:extLst>
        </c:ser>
        <c:ser>
          <c:idx val="22"/>
          <c:order val="21"/>
          <c:tx>
            <c:strRef>
              <c:f>'Risiko elementer'!$A$3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3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A-EFFA-4B61-8B06-307CEDA07C61}"/>
            </c:ext>
          </c:extLst>
        </c:ser>
        <c:ser>
          <c:idx val="23"/>
          <c:order val="22"/>
          <c:tx>
            <c:strRef>
              <c:f>'Risiko elementer'!$A$3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B-EFFA-4B61-8B06-307CEDA07C61}"/>
            </c:ext>
          </c:extLst>
        </c:ser>
        <c:ser>
          <c:idx val="24"/>
          <c:order val="23"/>
          <c:tx>
            <c:strRef>
              <c:f>'Risiko elementer'!$A$3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C-EFFA-4B61-8B06-307CEDA07C61}"/>
            </c:ext>
          </c:extLst>
        </c:ser>
        <c:ser>
          <c:idx val="25"/>
          <c:order val="24"/>
          <c:tx>
            <c:strRef>
              <c:f>'Risiko elementer'!$A$3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D-EFFA-4B61-8B06-307CEDA07C61}"/>
            </c:ext>
          </c:extLst>
        </c:ser>
        <c:ser>
          <c:idx val="26"/>
          <c:order val="25"/>
          <c:tx>
            <c:strRef>
              <c:f>'Risiko elementer'!$A$3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E-EFFA-4B61-8B06-307CEDA07C61}"/>
            </c:ext>
          </c:extLst>
        </c:ser>
        <c:ser>
          <c:idx val="27"/>
          <c:order val="26"/>
          <c:tx>
            <c:strRef>
              <c:f>'Risiko elementer'!$A$3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F-EFFA-4B61-8B06-307CEDA07C61}"/>
            </c:ext>
          </c:extLst>
        </c:ser>
        <c:ser>
          <c:idx val="28"/>
          <c:order val="27"/>
          <c:tx>
            <c:strRef>
              <c:f>'Risiko elementer'!$A$3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0-EFFA-4B61-8B06-307CEDA07C61}"/>
            </c:ext>
          </c:extLst>
        </c:ser>
        <c:ser>
          <c:idx val="29"/>
          <c:order val="28"/>
          <c:tx>
            <c:strRef>
              <c:f>'Risiko elementer'!$A$4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1-EFFA-4B61-8B06-307CEDA07C61}"/>
            </c:ext>
          </c:extLst>
        </c:ser>
        <c:ser>
          <c:idx val="30"/>
          <c:order val="29"/>
          <c:tx>
            <c:strRef>
              <c:f>'Risiko elementer'!$A$4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2-EFFA-4B61-8B06-307CEDA07C61}"/>
            </c:ext>
          </c:extLst>
        </c:ser>
        <c:ser>
          <c:idx val="31"/>
          <c:order val="30"/>
          <c:tx>
            <c:strRef>
              <c:f>'Risiko elementer'!$A$4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3-EFFA-4B61-8B06-307CEDA07C61}"/>
            </c:ext>
          </c:extLst>
        </c:ser>
        <c:ser>
          <c:idx val="32"/>
          <c:order val="31"/>
          <c:tx>
            <c:strRef>
              <c:f>'Risiko elementer'!$A$4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yVal>
            <c:numRef>
              <c:f>'Risiko elementer'!$P$4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4-EFFA-4B61-8B06-307CEDA07C61}"/>
            </c:ext>
          </c:extLst>
        </c:ser>
        <c:ser>
          <c:idx val="14"/>
          <c:order val="32"/>
          <c:tx>
            <c:strRef>
              <c:f>'Risiko elementer'!$A$4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5-EFFA-4B61-8B06-307CEDA07C61}"/>
            </c:ext>
          </c:extLst>
        </c:ser>
        <c:ser>
          <c:idx val="33"/>
          <c:order val="33"/>
          <c:tx>
            <c:strRef>
              <c:f>'Risiko elementer'!$A$4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6-EFFA-4B61-8B06-307CEDA07C61}"/>
            </c:ext>
          </c:extLst>
        </c:ser>
        <c:ser>
          <c:idx val="34"/>
          <c:order val="34"/>
          <c:tx>
            <c:strRef>
              <c:f>'Risiko elementer'!$A$4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7-EFFA-4B61-8B06-307CEDA07C61}"/>
            </c:ext>
          </c:extLst>
        </c:ser>
        <c:ser>
          <c:idx val="35"/>
          <c:order val="35"/>
          <c:tx>
            <c:strRef>
              <c:f>'Risiko elementer'!$A$4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8-EFFA-4B61-8B06-307CEDA07C61}"/>
            </c:ext>
          </c:extLst>
        </c:ser>
        <c:ser>
          <c:idx val="36"/>
          <c:order val="36"/>
          <c:tx>
            <c:strRef>
              <c:f>'Risiko elementer'!$A$4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9-EFFA-4B61-8B06-307CEDA07C61}"/>
            </c:ext>
          </c:extLst>
        </c:ser>
        <c:ser>
          <c:idx val="37"/>
          <c:order val="37"/>
          <c:tx>
            <c:strRef>
              <c:f>'Risiko elementer'!$A$4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A-EFFA-4B61-8B06-307CEDA07C61}"/>
            </c:ext>
          </c:extLst>
        </c:ser>
        <c:ser>
          <c:idx val="38"/>
          <c:order val="38"/>
          <c:tx>
            <c:strRef>
              <c:f>'Risiko elementer'!$A$5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yVal>
            <c:numRef>
              <c:f>'Risiko elementer'!$P$5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B-EFFA-4B61-8B06-307CEDA07C61}"/>
            </c:ext>
          </c:extLst>
        </c:ser>
        <c:ser>
          <c:idx val="39"/>
          <c:order val="39"/>
          <c:tx>
            <c:strRef>
              <c:f>'Risiko elementer'!$A$5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C-EFFA-4B61-8B06-307CEDA07C61}"/>
            </c:ext>
          </c:extLst>
        </c:ser>
        <c:ser>
          <c:idx val="40"/>
          <c:order val="40"/>
          <c:tx>
            <c:strRef>
              <c:f>'Risiko elementer'!$A$5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D-EFFA-4B61-8B06-307CEDA07C61}"/>
            </c:ext>
          </c:extLst>
        </c:ser>
        <c:ser>
          <c:idx val="41"/>
          <c:order val="41"/>
          <c:tx>
            <c:strRef>
              <c:f>'Risiko elementer'!$A$5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3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E-EFFA-4B61-8B06-307CEDA07C61}"/>
            </c:ext>
          </c:extLst>
        </c:ser>
        <c:ser>
          <c:idx val="42"/>
          <c:order val="42"/>
          <c:tx>
            <c:strRef>
              <c:f>'Risiko elementer'!$A$5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F-EFFA-4B61-8B06-307CEDA07C61}"/>
            </c:ext>
          </c:extLst>
        </c:ser>
        <c:ser>
          <c:idx val="43"/>
          <c:order val="43"/>
          <c:tx>
            <c:strRef>
              <c:f>'Risiko elementer'!$A$5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0-EFFA-4B61-8B06-307CEDA07C61}"/>
            </c:ext>
          </c:extLst>
        </c:ser>
        <c:ser>
          <c:idx val="44"/>
          <c:order val="44"/>
          <c:tx>
            <c:strRef>
              <c:f>'Risiko elementer'!$A$5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1-EFFA-4B61-8B06-307CEDA07C61}"/>
            </c:ext>
          </c:extLst>
        </c:ser>
        <c:ser>
          <c:idx val="45"/>
          <c:order val="45"/>
          <c:tx>
            <c:strRef>
              <c:f>'Risiko elementer'!$A$5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2-EFFA-4B61-8B06-307CEDA07C61}"/>
            </c:ext>
          </c:extLst>
        </c:ser>
        <c:ser>
          <c:idx val="46"/>
          <c:order val="46"/>
          <c:tx>
            <c:strRef>
              <c:f>'Risiko elementer'!$A$5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3-EFFA-4B61-8B06-307CEDA07C61}"/>
            </c:ext>
          </c:extLst>
        </c:ser>
        <c:ser>
          <c:idx val="47"/>
          <c:order val="47"/>
          <c:tx>
            <c:strRef>
              <c:f>'Risiko elementer'!$A$5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4-EFFA-4B61-8B06-307CEDA07C61}"/>
            </c:ext>
          </c:extLst>
        </c:ser>
        <c:ser>
          <c:idx val="48"/>
          <c:order val="48"/>
          <c:tx>
            <c:strRef>
              <c:f>'Risiko elementer'!$A$6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6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6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5-EFFA-4B61-8B06-307CEDA07C61}"/>
            </c:ext>
          </c:extLst>
        </c:ser>
        <c:ser>
          <c:idx val="49"/>
          <c:order val="49"/>
          <c:tx>
            <c:strRef>
              <c:f>'Risiko elementer'!$A$6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6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6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6-EFFA-4B61-8B06-307CEDA07C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6307840"/>
        <c:axId val="116318208"/>
      </c:scatterChart>
      <c:valAx>
        <c:axId val="116307840"/>
        <c:scaling>
          <c:orientation val="minMax"/>
          <c:max val="5"/>
          <c:min val="0"/>
        </c:scaling>
        <c:delete val="0"/>
        <c:axPos val="b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nb-NO" sz="1200" b="1" i="0" u="none" strike="noStrike" baseline="0" dirty="0">
                    <a:solidFill>
                      <a:srgbClr val="000000"/>
                    </a:solidFill>
                    <a:latin typeface="Arial"/>
                    <a:cs typeface="Arial"/>
                  </a:rPr>
                  <a:t>Konsekvensvurdering</a:t>
                </a:r>
              </a:p>
            </c:rich>
          </c:tx>
          <c:layout>
            <c:manualLayout>
              <c:xMode val="edge"/>
              <c:yMode val="edge"/>
              <c:x val="0.35985785484679583"/>
              <c:y val="0.8938448787019031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116318208"/>
        <c:crosses val="autoZero"/>
        <c:crossBetween val="midCat"/>
        <c:majorUnit val="1"/>
        <c:minorUnit val="1"/>
      </c:valAx>
      <c:valAx>
        <c:axId val="116318208"/>
        <c:scaling>
          <c:orientation val="minMax"/>
          <c:max val="5"/>
          <c:min val="0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nb-NO" sz="1200" b="1" i="0" u="none" strike="noStrike" baseline="0" dirty="0">
                    <a:solidFill>
                      <a:srgbClr val="000000"/>
                    </a:solidFill>
                    <a:latin typeface="Arial"/>
                    <a:cs typeface="Arial"/>
                  </a:rPr>
                  <a:t>Sannsynlighet</a:t>
                </a:r>
              </a:p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nb-NO" sz="1100" b="1" i="0" u="none" strike="noStrike" baseline="0" dirty="0">
                  <a:solidFill>
                    <a:srgbClr val="000000"/>
                  </a:solidFill>
                  <a:latin typeface="Arial"/>
                  <a:cs typeface="Arial"/>
                </a:endParaRPr>
              </a:p>
            </c:rich>
          </c:tx>
          <c:layout>
            <c:manualLayout>
              <c:xMode val="edge"/>
              <c:yMode val="edge"/>
              <c:x val="1.2389659121542773E-2"/>
              <c:y val="0.34160468199437183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116307840"/>
        <c:crossesAt val="0"/>
        <c:crossBetween val="midCat"/>
        <c:majorUnit val="1"/>
        <c:minorUnit val="1"/>
      </c:valAx>
      <c:spPr>
        <a:blipFill dpi="0" rotWithShape="0">
          <a:blip xmlns:r="http://schemas.openxmlformats.org/officeDocument/2006/relationships" r:embed="rId2"/>
          <a:srcRect/>
          <a:stretch>
            <a:fillRect/>
          </a:stretch>
        </a:blipFill>
        <a:ln w="12700">
          <a:solidFill>
            <a:srgbClr val="808080"/>
          </a:solidFill>
          <a:prstDash val="solid"/>
        </a:ln>
      </c:spPr>
    </c:plotArea>
    <c:plotVisOnly val="0"/>
    <c:dispBlanksAs val="gap"/>
    <c:showDLblsOverMax val="0"/>
  </c:chart>
  <c:spPr>
    <a:solidFill>
      <a:srgbClr val="FFFFFF"/>
    </a:solidFill>
    <a:ln w="3175">
      <a:solidFill>
        <a:sysClr val="window" lastClr="FFFFFF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nb-NO"/>
    </a:p>
  </c:txPr>
  <c:externalData r:id="rId3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4" cy="49829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4" cy="49829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C0C05338-D6E6-4CE9-9682-B4D4ECBC4CCD}" type="datetimeFigureOut">
              <a:rPr lang="nb-NO" smtClean="0"/>
              <a:t>28.01.2019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451" y="4779487"/>
            <a:ext cx="5435600" cy="3910489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4" cy="49829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48644" y="9433107"/>
            <a:ext cx="2944284" cy="49829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B7691EBB-80F8-43BC-BCC6-078EA46124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7539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accent3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accent3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648081"/>
            <a:ext cx="1530099" cy="104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38510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224144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074317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02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SzPct val="60000"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F1845-2A85-4438-AC6C-9384C559E66B}" type="datetime1">
              <a:rPr lang="nb-NO" smtClean="0"/>
              <a:t>28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591399" y="1955044"/>
            <a:ext cx="10585323" cy="4968621"/>
          </a:xfrm>
          <a:solidFill>
            <a:srgbClr val="0069E8"/>
          </a:solidFill>
        </p:spPr>
        <p:txBody>
          <a:bodyPr lIns="432000" tIns="432000" rIns="432000" bIns="432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7908-EC85-4632-9C4B-83E40FF1249F}" type="datetime1">
              <a:rPr lang="nb-NO" smtClean="0"/>
              <a:t>28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8124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stor /m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591399" y="2603125"/>
            <a:ext cx="11233404" cy="45365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3435A-BE20-4F09-82D2-3003BB17C80A}" type="datetime1">
              <a:rPr lang="nb-NO" smtClean="0"/>
              <a:t>28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591399" y="1955044"/>
            <a:ext cx="11233404" cy="648081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459139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2A0672-1BB0-44D0-A7F1-A0555A9945F3}" type="datetime1">
              <a:rPr lang="nb-NO" smtClean="0"/>
              <a:t>28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6"/>
          <p:cNvSpPr>
            <a:spLocks noGrp="1"/>
          </p:cNvSpPr>
          <p:nvPr>
            <p:ph type="pic" sz="quarter" idx="13"/>
          </p:nvPr>
        </p:nvSpPr>
        <p:spPr>
          <a:xfrm>
            <a:off x="1591399" y="1955044"/>
            <a:ext cx="13039001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260000" rIns="0" bIns="0" anchor="t" anchorCtr="1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1972323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632873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DCEDC0-8B0B-4FEB-80AB-549D533678FA}" type="datetime1">
              <a:rPr lang="nb-NO" smtClean="0"/>
              <a:t>28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28160-CBC6-44F3-A419-4691577D08E2}" type="datetime1">
              <a:rPr lang="nb-NO" smtClean="0"/>
              <a:t>28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7632874" y="1955044"/>
            <a:ext cx="6997526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440000" rIns="0" bIns="0" anchor="t" anchorCtr="1"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340961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  <a:solidFill>
            <a:srgbClr val="EFEFEF"/>
          </a:solidFill>
        </p:spPr>
        <p:txBody>
          <a:bodyPr lIns="216000" tIns="216000" rIns="216000" bIns="216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429C-8168-4B91-890F-C5E9E88B04CF}" type="datetime1">
              <a:rPr lang="nb-NO" smtClean="0"/>
              <a:t>28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7632874" y="1955044"/>
            <a:ext cx="6997526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440000" rIns="0" bIns="0" anchor="t" anchorCtr="1"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75481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648479"/>
            <a:ext cx="1530099" cy="104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906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68BDD-28BA-45B6-B0A4-1E0CB3996F2B}" type="datetime1">
              <a:rPr lang="nb-NO" smtClean="0"/>
              <a:t>28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7632874" y="1955044"/>
            <a:ext cx="6997526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440000" rIns="0" bIns="0" anchor="t" anchorCtr="1"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742086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84198" y="1944244"/>
            <a:ext cx="5184648" cy="2376297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110889" y="1944244"/>
            <a:ext cx="5184648" cy="2376297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7D56F-37E5-47E1-A1C8-CC0C8A64CE51}" type="datetime1">
              <a:rPr lang="nb-NO" smtClean="0"/>
              <a:t>28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7110889" y="4752594"/>
            <a:ext cx="5184648" cy="2376297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584198" y="4752594"/>
            <a:ext cx="5184648" cy="2376297"/>
          </a:xfrm>
          <a:noFill/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600718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110889" y="195504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9BC1B-76D5-428F-B4F8-9DFEF45A20DE}" type="datetime1">
              <a:rPr lang="nb-NO" smtClean="0"/>
              <a:t>28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7110889" y="475259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591399" y="475259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2714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591399" y="1955044"/>
            <a:ext cx="5400675" cy="64808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591399" y="2603125"/>
            <a:ext cx="5400675" cy="45365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7632954" y="1955044"/>
            <a:ext cx="5400675" cy="64808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7632954" y="2603125"/>
            <a:ext cx="5400675" cy="45365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D226F-10C9-4506-BB87-948311CE756B}" type="datetime1">
              <a:rPr lang="nb-NO" smtClean="0"/>
              <a:t>28.01.2019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0846632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1B4374-CE3F-4BEF-A161-272C71B0C02B}" type="datetime1">
              <a:rPr lang="nb-NO" smtClean="0"/>
              <a:t>28.01.2019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980477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8836E-C4EC-4E3C-9EA0-07C47D63B35B}" type="datetime1">
              <a:rPr lang="nb-NO" smtClean="0"/>
              <a:t>28.01.2019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accent4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648479"/>
            <a:ext cx="1530099" cy="104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673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281" y="648081"/>
            <a:ext cx="1523717" cy="104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3964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7"/>
            <a:ext cx="6696837" cy="1512189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077581" y="630079"/>
            <a:ext cx="6552819" cy="6516815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2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116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2"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7"/>
            <a:ext cx="6696837" cy="1512189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chemeClr val="accent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077581" y="630079"/>
            <a:ext cx="6552819" cy="6516815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81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62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7"/>
            <a:ext cx="6696837" cy="1512189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077581" y="630079"/>
            <a:ext cx="6552819" cy="6516815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2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034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6"/>
            <a:ext cx="6696837" cy="1512937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1317986" y="630079"/>
            <a:ext cx="3312414" cy="648081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2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391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2190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596017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7291" y="658882"/>
            <a:ext cx="9937242" cy="86410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591399" y="1955044"/>
            <a:ext cx="10585323" cy="51846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648175" y="7632954"/>
            <a:ext cx="1015465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fld id="{22FCF156-2266-4DDD-A756-6601C920D2AC}" type="datetime1">
              <a:rPr lang="nb-NO" smtClean="0"/>
              <a:t>28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408801" y="7632954"/>
            <a:ext cx="5760720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3653557" y="7632954"/>
            <a:ext cx="370573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502201"/>
            <a:ext cx="3903014" cy="727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</p:sldLayoutIdLst>
  <p:hf hdr="0" ftr="0" dt="0"/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65000"/>
        <a:buFont typeface="Arial" panose="020B0604020202020204" pitchFamily="34" charset="0"/>
        <a:buChar char="■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21600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216000" algn="l" defTabSz="1097280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16000" algn="l" defTabSz="1097280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080000" indent="-216000" algn="l" defTabSz="1097280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189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1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ekstSylinder 10"/>
          <p:cNvSpPr txBox="1"/>
          <p:nvPr/>
        </p:nvSpPr>
        <p:spPr>
          <a:xfrm>
            <a:off x="132839" y="138791"/>
            <a:ext cx="4349277" cy="9800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spAutoFit/>
          </a:bodyPr>
          <a:lstStyle/>
          <a:p>
            <a:r>
              <a:rPr lang="nb-NO" sz="2000" b="1" dirty="0">
                <a:solidFill>
                  <a:prstClr val="black"/>
                </a:solidFill>
              </a:rPr>
              <a:t>STATUSRAPPORT</a:t>
            </a:r>
            <a:br>
              <a:rPr lang="nb-NO" sz="2000" b="1" dirty="0">
                <a:solidFill>
                  <a:prstClr val="black"/>
                </a:solidFill>
              </a:rPr>
            </a:br>
            <a:r>
              <a:rPr lang="nb-NO" sz="2000" b="1" dirty="0">
                <a:solidFill>
                  <a:prstClr val="black"/>
                </a:solidFill>
              </a:rPr>
              <a:t>BOTT mottak </a:t>
            </a:r>
            <a:r>
              <a:rPr lang="nb-NO" sz="2000" b="1" dirty="0" smtClean="0">
                <a:solidFill>
                  <a:prstClr val="black"/>
                </a:solidFill>
              </a:rPr>
              <a:t>økonomi-prosjektet</a:t>
            </a:r>
          </a:p>
          <a:p>
            <a:endParaRPr lang="nb-NO" sz="1100" b="1" dirty="0" smtClean="0">
              <a:solidFill>
                <a:prstClr val="black"/>
              </a:solidFill>
            </a:endParaRPr>
          </a:p>
          <a:p>
            <a:endParaRPr lang="nb-NO" sz="1100" dirty="0">
              <a:solidFill>
                <a:prstClr val="black"/>
              </a:solidFill>
            </a:endParaRPr>
          </a:p>
        </p:txBody>
      </p:sp>
      <p:grpSp>
        <p:nvGrpSpPr>
          <p:cNvPr id="2" name="Gruppe 1"/>
          <p:cNvGrpSpPr/>
          <p:nvPr/>
        </p:nvGrpSpPr>
        <p:grpSpPr>
          <a:xfrm>
            <a:off x="132839" y="1117651"/>
            <a:ext cx="14365384" cy="3404550"/>
            <a:chOff x="142483" y="1211859"/>
            <a:chExt cx="14365384" cy="3404550"/>
          </a:xfrm>
        </p:grpSpPr>
        <p:sp>
          <p:nvSpPr>
            <p:cNvPr id="30" name="TekstSylinder 26"/>
            <p:cNvSpPr txBox="1"/>
            <p:nvPr/>
          </p:nvSpPr>
          <p:spPr>
            <a:xfrm>
              <a:off x="142483" y="1211859"/>
              <a:ext cx="7625477" cy="3379786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lIns="77139" tIns="25713" rIns="51426" bIns="0" rtlCol="0">
              <a:noAutofit/>
            </a:bodyPr>
            <a:lstStyle>
              <a:defPPr>
                <a:defRPr lang="nb-NO"/>
              </a:defPPr>
              <a:lvl1pPr>
                <a:defRPr sz="1200" b="1">
                  <a:solidFill>
                    <a:prstClr val="black"/>
                  </a:solidFill>
                </a:defRPr>
              </a:lvl1pPr>
            </a:lstStyle>
            <a:p>
              <a:r>
                <a:rPr lang="nb-NO" sz="1400" dirty="0"/>
                <a:t>Fremdrift: </a:t>
              </a:r>
            </a:p>
            <a:p>
              <a:pPr marL="177800" indent="-177800"/>
              <a:endParaRPr lang="nb-NO" sz="1400" dirty="0" smtClean="0"/>
            </a:p>
            <a:p>
              <a:pPr marL="177800" indent="-177800"/>
              <a:r>
                <a:rPr lang="nb-NO" sz="1400" dirty="0" smtClean="0"/>
                <a:t>Status</a:t>
              </a:r>
              <a:r>
                <a:rPr lang="nb-NO" sz="1400" dirty="0"/>
                <a:t>:</a:t>
              </a:r>
            </a:p>
            <a:p>
              <a:pPr marL="177800" indent="-177800">
                <a:buFont typeface="Arial" panose="020B0604020202020204" pitchFamily="34" charset="0"/>
                <a:buChar char="•"/>
              </a:pPr>
              <a:r>
                <a:rPr lang="nb-NO" sz="1400" b="0" dirty="0"/>
                <a:t>Prosjektgruppen har kommet godt i gang med planlegging for videre arbeid</a:t>
              </a:r>
            </a:p>
            <a:p>
              <a:endParaRPr lang="nb-NO" dirty="0">
                <a:solidFill>
                  <a:schemeClr val="tx1"/>
                </a:solidFill>
              </a:endParaRPr>
            </a:p>
            <a:p>
              <a:r>
                <a:rPr lang="nb-NO" sz="1400" dirty="0" smtClean="0"/>
                <a:t>Aktiviteter </a:t>
              </a:r>
              <a:r>
                <a:rPr lang="nb-NO" sz="1400" dirty="0"/>
                <a:t>i nærmeste fremtid:</a:t>
              </a:r>
              <a:endParaRPr lang="nb-NO" sz="1400" b="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nb-NO" sz="1400" b="0" dirty="0" smtClean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Utarbeidelse av overordnet tidsplan og planlegging/rigging av mottaksapparat ved UiO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Oppfølging av fagressurser inn i standardiserings og utviklingsarbeid i nasjonalt prosjekt </a:t>
              </a:r>
              <a:r>
                <a:rPr lang="nb-NO" sz="1400" b="0" dirty="0" err="1" smtClean="0"/>
                <a:t>ift</a:t>
              </a:r>
              <a:r>
                <a:rPr lang="nb-NO" sz="1400" b="0" dirty="0" smtClean="0"/>
                <a:t> beslutninge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sz="1400" b="0" dirty="0"/>
                <a:t>Workshop med BOTT Økonomidirektører og nasjonalt prosjekt i februar 2019 </a:t>
              </a:r>
              <a:endParaRPr lang="nb-NO" sz="1400" b="0" dirty="0" smtClean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Utarbeidelse </a:t>
              </a:r>
              <a:r>
                <a:rPr lang="nb-NO" sz="1400" b="0" dirty="0"/>
                <a:t>av </a:t>
              </a:r>
              <a:r>
                <a:rPr lang="nb-NO" sz="1400" b="0" dirty="0" smtClean="0"/>
                <a:t>prosjektbeskrivelse, milepælsplan, Risikoanalyse </a:t>
              </a:r>
              <a:endParaRPr lang="nb-NO" sz="1400" b="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Planlegging av prosesskartlegging våren 2019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nb-NO" b="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nb-NO" b="0" dirty="0"/>
            </a:p>
            <a:p>
              <a:endParaRPr lang="nb-NO" b="0" dirty="0"/>
            </a:p>
            <a:p>
              <a:endParaRPr lang="nb-NO" b="0" dirty="0"/>
            </a:p>
          </p:txBody>
        </p:sp>
        <p:sp>
          <p:nvSpPr>
            <p:cNvPr id="31" name="TekstSylinder 26"/>
            <p:cNvSpPr txBox="1"/>
            <p:nvPr/>
          </p:nvSpPr>
          <p:spPr>
            <a:xfrm>
              <a:off x="7954392" y="1232409"/>
              <a:ext cx="6553475" cy="3384000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lIns="77139" tIns="25713" rIns="51426" bIns="0" rtlCol="0">
              <a:noAutofit/>
            </a:bodyPr>
            <a:lstStyle>
              <a:defPPr>
                <a:defRPr lang="nb-NO"/>
              </a:defPPr>
              <a:lvl1pPr>
                <a:defRPr sz="1200" b="1">
                  <a:solidFill>
                    <a:prstClr val="black"/>
                  </a:solidFill>
                </a:defRPr>
              </a:lvl1pPr>
            </a:lstStyle>
            <a:p>
              <a:r>
                <a:rPr lang="nb-NO" sz="1400" dirty="0"/>
                <a:t>Avhengigheter: </a:t>
              </a:r>
            </a:p>
            <a:p>
              <a:endParaRPr lang="nb-NO" sz="1100" dirty="0"/>
            </a:p>
            <a:p>
              <a:r>
                <a:rPr lang="nb-NO" sz="1400" dirty="0"/>
                <a:t>Status</a:t>
              </a:r>
              <a:r>
                <a:rPr lang="nb-NO" sz="1400" b="0" dirty="0" smtClean="0"/>
                <a:t>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Workshops med nasjonalt prosjekt for å avklare mottaksprosjektets rolle/ansvar </a:t>
              </a:r>
              <a:r>
                <a:rPr lang="nb-NO" sz="1400" b="0" dirty="0" err="1" smtClean="0"/>
                <a:t>ifm</a:t>
              </a:r>
              <a:r>
                <a:rPr lang="nb-NO" sz="1400" b="0" dirty="0" smtClean="0"/>
                <a:t> standardiseringsjobb, innføring og testing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Planlegging- og rigging av mottaksapparat ved UiO</a:t>
              </a:r>
            </a:p>
            <a:p>
              <a:endParaRPr lang="nb-NO" sz="1400" b="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nb-NO" sz="1400" b="0" dirty="0"/>
            </a:p>
            <a:p>
              <a:r>
                <a:rPr lang="nb-NO" sz="1400" dirty="0"/>
                <a:t>Behov for </a:t>
              </a:r>
              <a:r>
                <a:rPr lang="nb-NO" sz="1400" dirty="0" smtClean="0"/>
                <a:t>avklaringer: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Planer/avklaringer mot Nasjonalt prosjekt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b-NO" sz="1400" b="0" dirty="0" smtClean="0"/>
                <a:t>Metodikk og rammeverk for gevinstarbeid mot programmet</a:t>
              </a:r>
              <a:endParaRPr lang="nb-NO" sz="1400" b="0" dirty="0"/>
            </a:p>
            <a:p>
              <a:endParaRPr lang="nb-NO" b="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nb-NO" b="0" dirty="0"/>
            </a:p>
            <a:p>
              <a:endParaRPr lang="nb-NO" b="0" dirty="0"/>
            </a:p>
          </p:txBody>
        </p:sp>
      </p:grpSp>
      <p:sp>
        <p:nvSpPr>
          <p:cNvPr id="52" name="TekstSylinder 19"/>
          <p:cNvSpPr txBox="1"/>
          <p:nvPr/>
        </p:nvSpPr>
        <p:spPr>
          <a:xfrm>
            <a:off x="4530300" y="137580"/>
            <a:ext cx="2366918" cy="98128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130622" bIns="0" rtlCol="0">
            <a:noAutofit/>
          </a:bodyPr>
          <a:lstStyle/>
          <a:p>
            <a:r>
              <a:rPr lang="nb-NO" sz="1500" b="1" dirty="0" smtClean="0">
                <a:solidFill>
                  <a:schemeClr val="tx1"/>
                </a:solidFill>
              </a:rPr>
              <a:t>Dato: </a:t>
            </a:r>
            <a:r>
              <a:rPr lang="nb-NO" sz="1400" b="1" dirty="0" smtClean="0">
                <a:solidFill>
                  <a:prstClr val="black"/>
                </a:solidFill>
              </a:rPr>
              <a:t>01.02.2019</a:t>
            </a:r>
            <a:endParaRPr lang="nb-NO" sz="1400" b="1" dirty="0">
              <a:solidFill>
                <a:prstClr val="black"/>
              </a:solidFill>
            </a:endParaRPr>
          </a:p>
          <a:p>
            <a:endParaRPr lang="nb-NO" sz="1500" b="1" dirty="0">
              <a:solidFill>
                <a:schemeClr val="tx1"/>
              </a:solidFill>
            </a:endParaRPr>
          </a:p>
          <a:p>
            <a:endParaRPr lang="nb-NO" sz="1200" dirty="0">
              <a:solidFill>
                <a:schemeClr val="tx1"/>
              </a:solidFill>
            </a:endParaRPr>
          </a:p>
        </p:txBody>
      </p:sp>
      <p:graphicFrame>
        <p:nvGraphicFramePr>
          <p:cNvPr id="4" name="Tabell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3632562"/>
              </p:ext>
            </p:extLst>
          </p:nvPr>
        </p:nvGraphicFramePr>
        <p:xfrm>
          <a:off x="6897218" y="137580"/>
          <a:ext cx="7610649" cy="9800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1174">
                  <a:extLst>
                    <a:ext uri="{9D8B030D-6E8A-4147-A177-3AD203B41FA5}">
                      <a16:colId xmlns:a16="http://schemas.microsoft.com/office/drawing/2014/main" val="1135141023"/>
                    </a:ext>
                  </a:extLst>
                </a:gridCol>
                <a:gridCol w="691175">
                  <a:extLst>
                    <a:ext uri="{9D8B030D-6E8A-4147-A177-3AD203B41FA5}">
                      <a16:colId xmlns:a16="http://schemas.microsoft.com/office/drawing/2014/main" val="2139775714"/>
                    </a:ext>
                  </a:extLst>
                </a:gridCol>
                <a:gridCol w="767080">
                  <a:extLst>
                    <a:ext uri="{9D8B030D-6E8A-4147-A177-3AD203B41FA5}">
                      <a16:colId xmlns:a16="http://schemas.microsoft.com/office/drawing/2014/main" val="1919443761"/>
                    </a:ext>
                  </a:extLst>
                </a:gridCol>
                <a:gridCol w="5461220">
                  <a:extLst>
                    <a:ext uri="{9D8B030D-6E8A-4147-A177-3AD203B41FA5}">
                      <a16:colId xmlns:a16="http://schemas.microsoft.com/office/drawing/2014/main" val="3246959147"/>
                    </a:ext>
                  </a:extLst>
                </a:gridCol>
              </a:tblGrid>
              <a:tr h="409073">
                <a:tc gridSpan="3">
                  <a:txBody>
                    <a:bodyPr/>
                    <a:lstStyle/>
                    <a:p>
                      <a:pPr marL="0" algn="l" defTabSz="1097280" rtl="0" eaLnBrk="1" latinLnBrk="0" hangingPunct="1"/>
                      <a:r>
                        <a:rPr lang="nb-NO" sz="1700" b="1" kern="1200" dirty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Overordnet status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 b="0" baseline="0" dirty="0" smtClean="0">
                          <a:solidFill>
                            <a:prstClr val="black"/>
                          </a:solidFill>
                        </a:rPr>
                        <a:t>Prosjektet er i planleggings- og kartleggingsfase</a:t>
                      </a:r>
                      <a:endParaRPr lang="nb-NO" sz="1100" b="0" baseline="0" dirty="0">
                        <a:solidFill>
                          <a:prstClr val="black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135213"/>
                  </a:ext>
                </a:extLst>
              </a:tr>
              <a:tr h="570998">
                <a:tc>
                  <a:txBody>
                    <a:bodyPr/>
                    <a:lstStyle/>
                    <a:p>
                      <a:pPr algn="ctr"/>
                      <a:r>
                        <a:rPr lang="nb-NO" sz="1800" b="1" dirty="0"/>
                        <a:t>F</a:t>
                      </a:r>
                    </a:p>
                    <a:p>
                      <a:pPr algn="ctr"/>
                      <a:r>
                        <a:rPr lang="nb-NO" sz="1050" b="1" dirty="0"/>
                        <a:t>Forri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1" dirty="0"/>
                        <a:t>N</a:t>
                      </a:r>
                      <a:endParaRPr lang="nb-NO" sz="3600" b="1" dirty="0"/>
                    </a:p>
                    <a:p>
                      <a:pPr algn="ctr"/>
                      <a:r>
                        <a:rPr lang="nb-NO" sz="1050" b="1" dirty="0"/>
                        <a:t>N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1" dirty="0"/>
                        <a:t>T</a:t>
                      </a:r>
                      <a:endParaRPr lang="nb-NO" sz="3600" b="1" dirty="0"/>
                    </a:p>
                    <a:p>
                      <a:pPr marL="0" indent="0" algn="ctr"/>
                      <a:r>
                        <a:rPr lang="nb-NO" sz="1050" b="1" dirty="0"/>
                        <a:t>Tende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 sz="11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26844"/>
                  </a:ext>
                </a:extLst>
              </a:tr>
            </a:tbl>
          </a:graphicData>
        </a:graphic>
      </p:graphicFrame>
      <p:sp>
        <p:nvSpPr>
          <p:cNvPr id="60" name="TekstSylinder 59"/>
          <p:cNvSpPr txBox="1"/>
          <p:nvPr/>
        </p:nvSpPr>
        <p:spPr>
          <a:xfrm>
            <a:off x="7954392" y="4683084"/>
            <a:ext cx="6553474" cy="3379075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 dirty="0" smtClean="0"/>
              <a:t>Ressurser og økonomi</a:t>
            </a:r>
            <a:r>
              <a:rPr lang="nb-NO" sz="1400" dirty="0"/>
              <a:t>:</a:t>
            </a:r>
          </a:p>
          <a:p>
            <a:endParaRPr lang="nb-NO" sz="1100" b="0" dirty="0"/>
          </a:p>
          <a:p>
            <a:r>
              <a:rPr lang="nb-NO" sz="1400" dirty="0" smtClean="0"/>
              <a:t>Status:</a:t>
            </a:r>
            <a:r>
              <a:rPr lang="nb-NO" sz="1400" b="0" dirty="0"/>
              <a:t> </a:t>
            </a:r>
            <a:endParaRPr lang="nb-NO" sz="14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0" dirty="0" smtClean="0"/>
              <a:t>Prognose </a:t>
            </a:r>
            <a:r>
              <a:rPr lang="nb-NO" sz="1400" b="0" dirty="0"/>
              <a:t>2018 tilsier et </a:t>
            </a:r>
            <a:r>
              <a:rPr lang="nb-NO" sz="1400" b="0" dirty="0" err="1"/>
              <a:t>mindreforbruk</a:t>
            </a:r>
            <a:r>
              <a:rPr lang="nb-NO" sz="1400" b="0" dirty="0"/>
              <a:t> knyttet til ressursdisponeringer (budsjett 1,650 mill.kr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0" dirty="0"/>
              <a:t>Budsjettet for 2019 er på 6 </a:t>
            </a:r>
            <a:r>
              <a:rPr lang="nb-NO" sz="1400" b="0" dirty="0" err="1"/>
              <a:t>mill</a:t>
            </a:r>
            <a:r>
              <a:rPr lang="nb-NO" sz="1400" b="0" dirty="0"/>
              <a:t> k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0" dirty="0"/>
              <a:t>Ny økonomimodell for økonomisk oppfølging av prosjektet implementeres slik at direkte kostnader og ressursbelastning kan synliggjøres</a:t>
            </a:r>
            <a:endParaRPr lang="nb-NO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b="0" dirty="0" smtClean="0"/>
              <a:t>  Prosjektleder </a:t>
            </a:r>
            <a:r>
              <a:rPr lang="nb-NO" sz="1400" b="0" dirty="0"/>
              <a:t>80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b="0" dirty="0" smtClean="0"/>
              <a:t>  2 </a:t>
            </a:r>
            <a:r>
              <a:rPr lang="nb-NO" sz="1400" b="0" dirty="0"/>
              <a:t>prosjektmedlemmer 60 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b="0" dirty="0" smtClean="0"/>
              <a:t>  2 </a:t>
            </a:r>
            <a:r>
              <a:rPr lang="nb-NO" sz="1400" b="0" dirty="0"/>
              <a:t>prosjektmedlemmer 20 %</a:t>
            </a:r>
          </a:p>
          <a:p>
            <a:pPr lvl="0"/>
            <a:endParaRPr lang="nb-NO" sz="1400" dirty="0" smtClean="0"/>
          </a:p>
          <a:p>
            <a:pPr lvl="0"/>
            <a:r>
              <a:rPr lang="nb-NO" sz="1400" dirty="0" smtClean="0"/>
              <a:t>Tiltak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0" dirty="0"/>
              <a:t>Ingen konkrete tiltak nødvendig på dette tidspunkt</a:t>
            </a:r>
          </a:p>
          <a:p>
            <a:pPr lvl="0"/>
            <a:endParaRPr lang="nb-NO" sz="1400" dirty="0"/>
          </a:p>
          <a:p>
            <a:endParaRPr lang="nb-NO" sz="240" b="0" dirty="0" smtClean="0"/>
          </a:p>
          <a:p>
            <a:endParaRPr lang="nb-NO" b="0" dirty="0"/>
          </a:p>
        </p:txBody>
      </p:sp>
      <p:graphicFrame>
        <p:nvGraphicFramePr>
          <p:cNvPr id="61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551146"/>
              </p:ext>
            </p:extLst>
          </p:nvPr>
        </p:nvGraphicFramePr>
        <p:xfrm>
          <a:off x="6371936" y="1255950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graphicFrame>
        <p:nvGraphicFramePr>
          <p:cNvPr id="70" name="Tabell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9979509"/>
              </p:ext>
            </p:extLst>
          </p:nvPr>
        </p:nvGraphicFramePr>
        <p:xfrm>
          <a:off x="13325796" y="1255950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sp>
        <p:nvSpPr>
          <p:cNvPr id="55" name="Oval 7"/>
          <p:cNvSpPr/>
          <p:nvPr/>
        </p:nvSpPr>
        <p:spPr>
          <a:xfrm>
            <a:off x="5982689" y="6125452"/>
            <a:ext cx="354844" cy="30033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lumMod val="50000"/>
              </a:srgbClr>
            </a:solidFill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Oval 7">
            <a:extLst>
              <a:ext uri="{FF2B5EF4-FFF2-40B4-BE49-F238E27FC236}">
                <a16:creationId xmlns:a16="http://schemas.microsoft.com/office/drawing/2014/main" id="{4DA5A2FB-796A-4A50-B270-C1DEC4A625C6}"/>
              </a:ext>
            </a:extLst>
          </p:cNvPr>
          <p:cNvSpPr/>
          <p:nvPr/>
        </p:nvSpPr>
        <p:spPr>
          <a:xfrm>
            <a:off x="6508538" y="4782500"/>
            <a:ext cx="340498" cy="360994"/>
          </a:xfrm>
          <a:prstGeom prst="ellipse">
            <a:avLst/>
          </a:prstGeom>
          <a:solidFill>
            <a:srgbClr val="FFFF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graphicFrame>
        <p:nvGraphicFramePr>
          <p:cNvPr id="63" name="Tabell 23">
            <a:extLst>
              <a:ext uri="{FF2B5EF4-FFF2-40B4-BE49-F238E27FC236}">
                <a16:creationId xmlns:a16="http://schemas.microsoft.com/office/drawing/2014/main" id="{287F3142-C375-4A5E-918E-D2BF2D007B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810682"/>
              </p:ext>
            </p:extLst>
          </p:nvPr>
        </p:nvGraphicFramePr>
        <p:xfrm>
          <a:off x="13464274" y="4731553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sp>
        <p:nvSpPr>
          <p:cNvPr id="33" name="TekstSylinder 26"/>
          <p:cNvSpPr txBox="1"/>
          <p:nvPr/>
        </p:nvSpPr>
        <p:spPr>
          <a:xfrm>
            <a:off x="142484" y="4680429"/>
            <a:ext cx="7625476" cy="339180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 dirty="0"/>
              <a:t>Risiko: Topp 3</a:t>
            </a:r>
          </a:p>
          <a:p>
            <a:endParaRPr lang="nb-NO" sz="1400" dirty="0"/>
          </a:p>
          <a:p>
            <a:endParaRPr lang="nb-NO" sz="1400" dirty="0"/>
          </a:p>
          <a:p>
            <a:r>
              <a:rPr lang="nb-NO" sz="1400" dirty="0"/>
              <a:t>Risiko for ikke å nå milepælene</a:t>
            </a:r>
            <a:r>
              <a:rPr lang="nb-NO" sz="1400" dirty="0" smtClean="0"/>
              <a:t>:</a:t>
            </a:r>
            <a:endParaRPr lang="nb-NO" sz="1400" dirty="0"/>
          </a:p>
          <a:p>
            <a:pPr marL="228600" indent="-228600">
              <a:buFont typeface="+mj-lt"/>
              <a:buAutoNum type="arabicPeriod"/>
            </a:pPr>
            <a:r>
              <a:rPr lang="nb-NO" sz="1400" b="0" dirty="0"/>
              <a:t>Uklare rammebetingelser for UiO </a:t>
            </a:r>
            <a:r>
              <a:rPr lang="nb-NO" sz="1400" b="0" dirty="0" smtClean="0"/>
              <a:t>mottaks</a:t>
            </a:r>
          </a:p>
          <a:p>
            <a:r>
              <a:rPr lang="nb-NO" sz="1400" b="0" dirty="0"/>
              <a:t> </a:t>
            </a:r>
            <a:r>
              <a:rPr lang="nb-NO" sz="1400" b="0" dirty="0" smtClean="0"/>
              <a:t>    prosjekt </a:t>
            </a:r>
            <a:r>
              <a:rPr lang="nb-NO" sz="1400" b="0" dirty="0"/>
              <a:t>(hva skal vi gjøre og hva skal vi </a:t>
            </a:r>
            <a:endParaRPr lang="nb-NO" sz="1400" b="0" dirty="0" smtClean="0"/>
          </a:p>
          <a:p>
            <a:r>
              <a:rPr lang="nb-NO" sz="1400" b="0" dirty="0"/>
              <a:t> </a:t>
            </a:r>
            <a:r>
              <a:rPr lang="nb-NO" sz="1400" b="0" dirty="0" smtClean="0"/>
              <a:t>    ikke </a:t>
            </a:r>
            <a:r>
              <a:rPr lang="nb-NO" sz="1400" b="0" dirty="0"/>
              <a:t>gjøre</a:t>
            </a:r>
            <a:r>
              <a:rPr lang="nb-NO" sz="1400" b="0" dirty="0" smtClean="0"/>
              <a:t>)</a:t>
            </a:r>
          </a:p>
          <a:p>
            <a:r>
              <a:rPr lang="nb-NO" sz="1400" b="0" dirty="0" smtClean="0"/>
              <a:t>2.  Komplisert </a:t>
            </a:r>
            <a:r>
              <a:rPr lang="nb-NO" sz="1400" b="0" dirty="0"/>
              <a:t>prosjektorganisering</a:t>
            </a:r>
          </a:p>
          <a:p>
            <a:r>
              <a:rPr lang="nb-NO" b="0" dirty="0" smtClean="0"/>
              <a:t>		</a:t>
            </a:r>
          </a:p>
          <a:p>
            <a:r>
              <a:rPr lang="nb-NO" sz="1400" dirty="0" smtClean="0"/>
              <a:t>Risikoreduserende </a:t>
            </a:r>
            <a:r>
              <a:rPr lang="nb-NO" sz="1400" dirty="0"/>
              <a:t>tiltak:</a:t>
            </a:r>
            <a:endParaRPr lang="nb-NO" sz="1400" b="0" dirty="0"/>
          </a:p>
          <a:p>
            <a:pPr marL="342900" indent="-342900">
              <a:buFont typeface="+mj-lt"/>
              <a:buAutoNum type="arabicPeriod"/>
            </a:pPr>
            <a:r>
              <a:rPr lang="nb-NO" sz="1400" b="0" dirty="0"/>
              <a:t>Tydeliggjøre roller og ansvar mellom lokalt og </a:t>
            </a:r>
            <a:endParaRPr lang="nb-NO" sz="1400" b="0" dirty="0" smtClean="0"/>
          </a:p>
          <a:p>
            <a:r>
              <a:rPr lang="nb-NO" sz="1400" b="0" dirty="0" smtClean="0"/>
              <a:t>       nasjonalt </a:t>
            </a:r>
            <a:r>
              <a:rPr lang="nb-NO" sz="1400" b="0" dirty="0"/>
              <a:t>prosjekt, program og linja.</a:t>
            </a:r>
          </a:p>
          <a:p>
            <a:r>
              <a:rPr lang="nb-NO" sz="1400" b="0" dirty="0" smtClean="0"/>
              <a:t>2.    Tydeliggjøre </a:t>
            </a:r>
            <a:r>
              <a:rPr lang="nb-NO" sz="1400" b="0" dirty="0"/>
              <a:t>roller og ansvar </a:t>
            </a:r>
            <a:r>
              <a:rPr lang="nb-NO" sz="1400" b="0" dirty="0" err="1"/>
              <a:t>ift</a:t>
            </a:r>
            <a:r>
              <a:rPr lang="nb-NO" sz="1400" b="0" dirty="0"/>
              <a:t> lokalt og </a:t>
            </a:r>
            <a:endParaRPr lang="nb-NO" sz="1400" b="0" dirty="0" smtClean="0"/>
          </a:p>
          <a:p>
            <a:r>
              <a:rPr lang="nb-NO" sz="1400" b="0" dirty="0" smtClean="0"/>
              <a:t>       nasjonalt </a:t>
            </a:r>
            <a:r>
              <a:rPr lang="nb-NO" sz="1400" b="0" dirty="0"/>
              <a:t>prosjekt, program og ulike </a:t>
            </a:r>
            <a:endParaRPr lang="nb-NO" sz="1400" b="0" dirty="0" smtClean="0"/>
          </a:p>
          <a:p>
            <a:r>
              <a:rPr lang="nb-NO" sz="1400" b="0" dirty="0"/>
              <a:t> </a:t>
            </a:r>
            <a:r>
              <a:rPr lang="nb-NO" sz="1400" b="0" dirty="0" smtClean="0"/>
              <a:t>      Styringsgrupper</a:t>
            </a:r>
            <a:r>
              <a:rPr lang="nb-NO" sz="1400" b="0" dirty="0"/>
              <a:t>.</a:t>
            </a:r>
          </a:p>
          <a:p>
            <a:endParaRPr lang="nb-NO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b="0" dirty="0"/>
          </a:p>
          <a:p>
            <a:endParaRPr lang="nb-NO" b="0" dirty="0"/>
          </a:p>
          <a:p>
            <a:endParaRPr lang="nb-NO" b="0" dirty="0"/>
          </a:p>
        </p:txBody>
      </p:sp>
      <p:graphicFrame>
        <p:nvGraphicFramePr>
          <p:cNvPr id="41" name="Chart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6253107"/>
              </p:ext>
            </p:extLst>
          </p:nvPr>
        </p:nvGraphicFramePr>
        <p:xfrm>
          <a:off x="4154342" y="4823302"/>
          <a:ext cx="3316314" cy="3204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59995" y="5763795"/>
            <a:ext cx="35484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 smtClean="0">
                <a:solidFill>
                  <a:schemeClr val="bg1"/>
                </a:solidFill>
              </a:rPr>
              <a:t>2</a:t>
            </a:r>
            <a:endParaRPr lang="nb-NO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929551" y="5763795"/>
            <a:ext cx="354844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>
                <a:solidFill>
                  <a:schemeClr val="bg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13728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mal_Direktoratet_EhelseV1">
  <a:themeElements>
    <a:clrScheme name="Dir e-helse">
      <a:dk1>
        <a:sysClr val="windowText" lastClr="000000"/>
      </a:dk1>
      <a:lt1>
        <a:sysClr val="window" lastClr="FFFFFF"/>
      </a:lt1>
      <a:dk2>
        <a:srgbClr val="2C4457"/>
      </a:dk2>
      <a:lt2>
        <a:srgbClr val="F0F0F0"/>
      </a:lt2>
      <a:accent1>
        <a:srgbClr val="0069E8"/>
      </a:accent1>
      <a:accent2>
        <a:srgbClr val="281C2C"/>
      </a:accent2>
      <a:accent3>
        <a:srgbClr val="037A94"/>
      </a:accent3>
      <a:accent4>
        <a:srgbClr val="00BCD5"/>
      </a:accent4>
      <a:accent5>
        <a:srgbClr val="FF676A"/>
      </a:accent5>
      <a:accent6>
        <a:srgbClr val="EADFDF"/>
      </a:accent6>
      <a:hlink>
        <a:srgbClr val="00A8D7"/>
      </a:hlink>
      <a:folHlink>
        <a:srgbClr val="39FF9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Direktoratet_EhelseV1.potx" id="{C35A806E-BACF-4289-BD8B-D06AF648F8A9}" vid="{D773CEB8-4479-4353-A549-F0C97AE54CE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F385C3030C6A44BA4C38AC5C1CB8FC" ma:contentTypeVersion="6" ma:contentTypeDescription="Create a new document." ma:contentTypeScope="" ma:versionID="9920070aab57dcf99379d1cb05ea8c56">
  <xsd:schema xmlns:xsd="http://www.w3.org/2001/XMLSchema" xmlns:xs="http://www.w3.org/2001/XMLSchema" xmlns:p="http://schemas.microsoft.com/office/2006/metadata/properties" xmlns:ns2="9e53b3df-7f6b-4bd7-ac4c-bde73eb5098f" xmlns:ns3="ba7dc617-a4f4-4409-9cad-af25c0d7619f" targetNamespace="http://schemas.microsoft.com/office/2006/metadata/properties" ma:root="true" ma:fieldsID="556a96a9b6723924e8c47fe33a8e688f" ns2:_="" ns3:_="">
    <xsd:import namespace="9e53b3df-7f6b-4bd7-ac4c-bde73eb5098f"/>
    <xsd:import namespace="ba7dc617-a4f4-4409-9cad-af25c0d7619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53b3df-7f6b-4bd7-ac4c-bde73eb509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7dc617-a4f4-4409-9cad-af25c0d7619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CA9F5BA-8860-4466-B2E2-1EBB90E886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e53b3df-7f6b-4bd7-ac4c-bde73eb5098f"/>
    <ds:schemaRef ds:uri="ba7dc617-a4f4-4409-9cad-af25c0d761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3717AFB-C79C-4154-B506-96BE486B0788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ba7dc617-a4f4-4409-9cad-af25c0d7619f"/>
    <ds:schemaRef ds:uri="http://schemas.microsoft.com/office/infopath/2007/PartnerControls"/>
    <ds:schemaRef ds:uri="http://purl.org/dc/terms/"/>
    <ds:schemaRef ds:uri="9e53b3df-7f6b-4bd7-ac4c-bde73eb5098f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C92ABA8-D8E6-4D6E-B6CC-0CDF97D8C87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mal_Direktoratet_EhelseV1</Template>
  <TotalTime>24925</TotalTime>
  <Words>257</Words>
  <Application>Microsoft Office PowerPoint</Application>
  <PresentationFormat>Custom</PresentationFormat>
  <Paragraphs>9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PPTmal_Direktoratet_EhelseV1</vt:lpstr>
      <vt:lpstr>think-cell Slide</vt:lpstr>
      <vt:lpstr>PowerPoint Presentation</vt:lpstr>
    </vt:vector>
  </TitlesOfParts>
  <Company>Helsedirektorat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rapport for &lt;prosjekt&gt;</dc:title>
  <dc:creator>Bent Are Melsom</dc:creator>
  <dc:description>template by officeconsult.no</dc:description>
  <cp:lastModifiedBy>Line Dolmset</cp:lastModifiedBy>
  <cp:revision>292</cp:revision>
  <cp:lastPrinted>2018-08-09T13:14:38Z</cp:lastPrinted>
  <dcterms:created xsi:type="dcterms:W3CDTF">2016-01-25T08:26:51Z</dcterms:created>
  <dcterms:modified xsi:type="dcterms:W3CDTF">2019-01-28T11:1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officeconsult.no</vt:lpwstr>
  </property>
  <property fmtid="{D5CDD505-2E9C-101B-9397-08002B2CF9AE}" pid="3" name="ContentTypeId">
    <vt:lpwstr>0x01010082F385C3030C6A44BA4C38AC5C1CB8FC</vt:lpwstr>
  </property>
</Properties>
</file>